
<file path=[Content_Types].xml><?xml version="1.0" encoding="utf-8"?>
<Types xmlns="http://schemas.openxmlformats.org/package/2006/content-types"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Sz cx="12192000" cy="6858000"/>
  <p:notesSz cx="6858000" cy="9144000"/>
  <p:custDataLst>
    <p:tags r:id="rId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20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9DD6B-B44D-4F8D-9DFE-63F40617E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88605-1E66-43CA-B886-D0CA51B20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5F1-42C5-4ACD-B328-C5AD3CFF6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8DB2E-1AE4-478F-A54D-2FE33969E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4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9FCA1-E7E7-49E8-B097-160762DD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DC4D-4A8A-4A92-B93F-430E12416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3F2EE-AB9F-4C4B-88E1-1AA9116F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12272-72A4-4844-992F-265D7DF5E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3C416-EBF3-4B0A-8327-997E1361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7888FE-E8D9-4EAE-A425-9BC7D1B55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AD4BC3-DEC5-4818-9AD3-65E396B99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B1626-1218-4FCA-BBCA-03F23B27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463D8-A441-46B2-AF58-996520FF4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C32E4-EEB2-4355-B9DC-ABB91674A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143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C9424-07D4-4C76-819F-64E82AAF7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303EE-EF3B-4E66-B535-F6BC60C8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4D4A0-E173-4C8C-A3C7-70BECD7A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7449B-30B7-4E06-8023-8367C318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03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309C3-69F2-499C-89FA-7168A9906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8B972-CF8C-4F77-A121-5D391DB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EB703F-2543-402E-9A2F-26548421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19755-EBDD-4AEF-8EAF-176E90D17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586C8-76AB-4093-871A-31DC92AAB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48507-AF1B-4C04-AAA3-BF685D13F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9ED8-B2AF-4D97-A9F5-AC406DCCF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265C8B-6E01-44D0-A1C9-EDBB6A91E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FCB45F-F3CF-4E42-B20D-564B41CC8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3C3183-E022-4254-AF07-C3CFCC7A8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4D240-958A-4DB8-9505-EEC787AC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6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BC3D-2716-460B-9B26-776D0B26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C6AE71-B689-4CB8-B7D4-2B1341F92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FAFC9D-88F4-4CCA-965E-2EE76569BC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3DFF3-FF77-4F47-9351-FABEBDF5D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E6503-5E48-440F-B5A4-060E0CBD1B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021F0F-168E-4DF4-AD63-4BABC185B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1F4AC-8A94-4B80-A78D-80E45EA00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562A3E-479D-493E-8D16-89A4BDFB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9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75740-5090-4D62-82A2-21EF10420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807E2C-4A61-4AB2-BC74-D86200F4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8F14E2-13C4-4462-9F5B-46F36838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7C0E3-E4C2-41F0-8F85-02C2285E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2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20F80-92B8-4C12-86CA-BC8B6619E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E716D-1D92-46B8-A253-0568CDC0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77B3A-7BE6-4B71-A010-0FA1A6732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2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00E0-3892-4AD7-B58B-C33BCFB19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579D5-8BFC-49BB-915B-FC7FD2A54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CDB781-4CB3-4237-A519-1B1BDDBF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38CDFC-8698-4129-B366-EDEADCFB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B8F9CB-AE56-491A-BE9A-37D88EE0F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6FA09-2D2D-4758-A700-DBF5D118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9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AF6F-E04C-4D6C-9571-61FEA62C8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919653-E08D-4EAE-AE23-9ED10299D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83899-16E8-4DAA-92DD-B388A2D4F8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9BA4C-08DC-4A77-82C6-5960DFBE2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6EB9E-98E8-456C-8BFD-4B998D14A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5FB85B-FBD7-4FEC-A143-483D31584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176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8BA70-677D-4F30-A142-BF6DAD682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AB8C3-70E0-4C6B-BFED-E0FFF7334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50E77-A39E-41BB-91B9-10830C2A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11B2D-BC01-4C21-92E7-B17EC3705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07B57-4D42-446A-9CD8-308E059DE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4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ander de Vries</dc:creator>
  <cp:lastModifiedBy>Xander de Vries</cp:lastModifiedBy>
  <cp:revision>2</cp:revision>
  <dcterms:created xsi:type="dcterms:W3CDTF">2022-03-10T12:54:31Z</dcterms:created>
  <dcterms:modified xsi:type="dcterms:W3CDTF">2022-03-10T14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